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81" r:id="rId1"/>
  </p:sldMasterIdLst>
  <p:sldIdLst>
    <p:sldId id="256" r:id="rId2"/>
    <p:sldId id="263" r:id="rId3"/>
    <p:sldId id="267" r:id="rId4"/>
  </p:sldIdLst>
  <p:sldSz cx="12192000" cy="6858000"/>
  <p:notesSz cx="6858000" cy="9144000"/>
  <p:custDataLst>
    <p:tags r:id="rId5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907E4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26" autoAdjust="0"/>
    <p:restoredTop sz="94660"/>
  </p:normalViewPr>
  <p:slideViewPr>
    <p:cSldViewPr snapToGrid="0">
      <p:cViewPr>
        <p:scale>
          <a:sx n="70" d="100"/>
          <a:sy n="70" d="100"/>
        </p:scale>
        <p:origin x="-512" y="-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rrowland\Desktop\RBC\April%20RBC%20Monthly%20Report%20202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GB"/>
  <c:chart>
    <c:title>
      <c:tx>
        <c:rich>
          <a:bodyPr/>
          <a:lstStyle/>
          <a:p>
            <a:pPr>
              <a:defRPr/>
            </a:pPr>
            <a:r>
              <a:rPr lang="en-US"/>
              <a:t>Rolling 12 month average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6.7480417712366514E-2"/>
          <c:y val="7.2573309351153373E-2"/>
          <c:w val="0.92261868714352968"/>
          <c:h val="0.72894714271458805"/>
        </c:manualLayout>
      </c:layout>
      <c:lineChart>
        <c:grouping val="standard"/>
        <c:ser>
          <c:idx val="0"/>
          <c:order val="0"/>
          <c:marker>
            <c:symbol val="none"/>
          </c:marker>
          <c:cat>
            <c:numRef>
              <c:f>Graphs!$A$62:$A$137</c:f>
              <c:numCache>
                <c:formatCode>mmm\-yy</c:formatCode>
                <c:ptCount val="76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25</c:v>
                </c:pt>
                <c:pt idx="27">
                  <c:v>43556</c:v>
                </c:pt>
                <c:pt idx="28">
                  <c:v>43586</c:v>
                </c:pt>
                <c:pt idx="29">
                  <c:v>43617</c:v>
                </c:pt>
                <c:pt idx="30">
                  <c:v>43647</c:v>
                </c:pt>
                <c:pt idx="31">
                  <c:v>43678</c:v>
                </c:pt>
                <c:pt idx="32">
                  <c:v>43709</c:v>
                </c:pt>
                <c:pt idx="33">
                  <c:v>43739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891</c:v>
                </c:pt>
                <c:pt idx="39">
                  <c:v>43922</c:v>
                </c:pt>
                <c:pt idx="40">
                  <c:v>43952</c:v>
                </c:pt>
                <c:pt idx="41">
                  <c:v>43983</c:v>
                </c:pt>
                <c:pt idx="42">
                  <c:v>44013</c:v>
                </c:pt>
                <c:pt idx="43">
                  <c:v>44044</c:v>
                </c:pt>
                <c:pt idx="44">
                  <c:v>44075</c:v>
                </c:pt>
                <c:pt idx="45">
                  <c:v>44105</c:v>
                </c:pt>
                <c:pt idx="46">
                  <c:v>44136</c:v>
                </c:pt>
                <c:pt idx="47">
                  <c:v>44166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</c:numCache>
            </c:numRef>
          </c:cat>
          <c:val>
            <c:numRef>
              <c:f>Graphs!$I$62:$I$137</c:f>
              <c:numCache>
                <c:formatCode>_-* #,##0_-;\-* #,##0_-;_-* "-"??_-;_-@_-</c:formatCode>
                <c:ptCount val="76"/>
                <c:pt idx="0">
                  <c:v>25920.833333333332</c:v>
                </c:pt>
                <c:pt idx="1">
                  <c:v>26024.333333333332</c:v>
                </c:pt>
                <c:pt idx="2">
                  <c:v>25616</c:v>
                </c:pt>
                <c:pt idx="3">
                  <c:v>25399</c:v>
                </c:pt>
                <c:pt idx="4">
                  <c:v>25210</c:v>
                </c:pt>
                <c:pt idx="5">
                  <c:v>25274.5</c:v>
                </c:pt>
                <c:pt idx="6">
                  <c:v>25300.666666666668</c:v>
                </c:pt>
                <c:pt idx="7">
                  <c:v>25340.916666666668</c:v>
                </c:pt>
                <c:pt idx="8">
                  <c:v>25226.666666666668</c:v>
                </c:pt>
                <c:pt idx="9">
                  <c:v>25293.916666666668</c:v>
                </c:pt>
                <c:pt idx="10">
                  <c:v>25336.583333333332</c:v>
                </c:pt>
                <c:pt idx="11">
                  <c:v>25813.666666666668</c:v>
                </c:pt>
                <c:pt idx="12">
                  <c:v>25674.833333333332</c:v>
                </c:pt>
                <c:pt idx="13">
                  <c:v>25606.5</c:v>
                </c:pt>
                <c:pt idx="14">
                  <c:v>25370.333333333332</c:v>
                </c:pt>
                <c:pt idx="15">
                  <c:v>26210.166666666668</c:v>
                </c:pt>
                <c:pt idx="16">
                  <c:v>26185.166666666668</c:v>
                </c:pt>
                <c:pt idx="17">
                  <c:v>26265.833333333332</c:v>
                </c:pt>
                <c:pt idx="18">
                  <c:v>26377.083333333332</c:v>
                </c:pt>
                <c:pt idx="19">
                  <c:v>26260.75</c:v>
                </c:pt>
                <c:pt idx="20">
                  <c:v>26267.083333333332</c:v>
                </c:pt>
                <c:pt idx="21">
                  <c:v>26247.833333333332</c:v>
                </c:pt>
                <c:pt idx="22">
                  <c:v>26747.25</c:v>
                </c:pt>
                <c:pt idx="23">
                  <c:v>26175.333333333332</c:v>
                </c:pt>
                <c:pt idx="24">
                  <c:v>26204.5</c:v>
                </c:pt>
                <c:pt idx="25">
                  <c:v>26363.75</c:v>
                </c:pt>
                <c:pt idx="26">
                  <c:v>27266.75</c:v>
                </c:pt>
                <c:pt idx="27">
                  <c:v>27552.25</c:v>
                </c:pt>
                <c:pt idx="28">
                  <c:v>27509.75</c:v>
                </c:pt>
                <c:pt idx="29">
                  <c:v>27823.833333333332</c:v>
                </c:pt>
                <c:pt idx="30">
                  <c:v>28292.833333333332</c:v>
                </c:pt>
                <c:pt idx="31">
                  <c:v>28393.166666666668</c:v>
                </c:pt>
                <c:pt idx="32">
                  <c:v>28821.666666666668</c:v>
                </c:pt>
                <c:pt idx="33">
                  <c:v>28879.416666666668</c:v>
                </c:pt>
                <c:pt idx="34">
                  <c:v>28456.666666666668</c:v>
                </c:pt>
                <c:pt idx="35">
                  <c:v>29213.916666666668</c:v>
                </c:pt>
                <c:pt idx="36">
                  <c:v>29317.75</c:v>
                </c:pt>
                <c:pt idx="37">
                  <c:v>29259.916666666668</c:v>
                </c:pt>
                <c:pt idx="38">
                  <c:v>28536.583333333332</c:v>
                </c:pt>
                <c:pt idx="39">
                  <c:v>28099.916666666668</c:v>
                </c:pt>
                <c:pt idx="40">
                  <c:v>28407</c:v>
                </c:pt>
                <c:pt idx="41">
                  <c:v>27981.416666666668</c:v>
                </c:pt>
                <c:pt idx="42">
                  <c:v>27394.5</c:v>
                </c:pt>
                <c:pt idx="43">
                  <c:v>27292.583333333332</c:v>
                </c:pt>
                <c:pt idx="44">
                  <c:v>27167.25</c:v>
                </c:pt>
                <c:pt idx="45">
                  <c:v>26962</c:v>
                </c:pt>
                <c:pt idx="46">
                  <c:v>26860</c:v>
                </c:pt>
                <c:pt idx="47">
                  <c:v>26520.833333333332</c:v>
                </c:pt>
                <c:pt idx="48">
                  <c:v>25841.416666666668</c:v>
                </c:pt>
                <c:pt idx="49">
                  <c:v>25913.416666666668</c:v>
                </c:pt>
                <c:pt idx="50">
                  <c:v>25332.833333333332</c:v>
                </c:pt>
                <c:pt idx="51">
                  <c:v>25224.333333333332</c:v>
                </c:pt>
                <c:pt idx="52">
                  <c:v>24591.504166666666</c:v>
                </c:pt>
                <c:pt idx="53">
                  <c:v>24825.25</c:v>
                </c:pt>
                <c:pt idx="54">
                  <c:v>24663.75</c:v>
                </c:pt>
                <c:pt idx="55">
                  <c:v>24639.583333333332</c:v>
                </c:pt>
                <c:pt idx="56">
                  <c:v>24509.916666666668</c:v>
                </c:pt>
                <c:pt idx="57">
                  <c:v>24258.75</c:v>
                </c:pt>
                <c:pt idx="58">
                  <c:v>24715.75</c:v>
                </c:pt>
                <c:pt idx="59">
                  <c:v>24183</c:v>
                </c:pt>
                <c:pt idx="60">
                  <c:v>24475.916666666668</c:v>
                </c:pt>
                <c:pt idx="61">
                  <c:v>24396.333333333332</c:v>
                </c:pt>
                <c:pt idx="62">
                  <c:v>24568.5</c:v>
                </c:pt>
                <c:pt idx="63">
                  <c:v>24512.333333333332</c:v>
                </c:pt>
                <c:pt idx="64">
                  <c:v>25013.245833333334</c:v>
                </c:pt>
                <c:pt idx="65">
                  <c:v>25230.416666666668</c:v>
                </c:pt>
                <c:pt idx="66">
                  <c:v>25216.583333333332</c:v>
                </c:pt>
                <c:pt idx="67">
                  <c:v>25302.666666666668</c:v>
                </c:pt>
                <c:pt idx="68">
                  <c:v>25153.5</c:v>
                </c:pt>
                <c:pt idx="69">
                  <c:v>25409.166666666668</c:v>
                </c:pt>
                <c:pt idx="70">
                  <c:v>25791.25</c:v>
                </c:pt>
                <c:pt idx="71">
                  <c:v>26134.416666666668</c:v>
                </c:pt>
                <c:pt idx="72">
                  <c:v>26227.416666666668</c:v>
                </c:pt>
                <c:pt idx="73">
                  <c:v>26397.666666666668</c:v>
                </c:pt>
                <c:pt idx="74">
                  <c:v>26605.083333333332</c:v>
                </c:pt>
                <c:pt idx="75">
                  <c:v>26818.5833333333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B86-4E54-AA9C-5B9F77FEFA02}"/>
            </c:ext>
          </c:extLst>
        </c:ser>
        <c:ser>
          <c:idx val="2"/>
          <c:order val="1"/>
          <c:spPr>
            <a:ln>
              <a:prstDash val="sysDash"/>
            </a:ln>
          </c:spPr>
          <c:marker>
            <c:symbol val="none"/>
          </c:marker>
          <c:cat>
            <c:numRef>
              <c:f>Graphs!$A$62:$A$137</c:f>
              <c:numCache>
                <c:formatCode>mmm\-yy</c:formatCode>
                <c:ptCount val="76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01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25</c:v>
                </c:pt>
                <c:pt idx="27">
                  <c:v>43556</c:v>
                </c:pt>
                <c:pt idx="28">
                  <c:v>43586</c:v>
                </c:pt>
                <c:pt idx="29">
                  <c:v>43617</c:v>
                </c:pt>
                <c:pt idx="30">
                  <c:v>43647</c:v>
                </c:pt>
                <c:pt idx="31">
                  <c:v>43678</c:v>
                </c:pt>
                <c:pt idx="32">
                  <c:v>43709</c:v>
                </c:pt>
                <c:pt idx="33">
                  <c:v>43739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891</c:v>
                </c:pt>
                <c:pt idx="39">
                  <c:v>43922</c:v>
                </c:pt>
                <c:pt idx="40">
                  <c:v>43952</c:v>
                </c:pt>
                <c:pt idx="41">
                  <c:v>43983</c:v>
                </c:pt>
                <c:pt idx="42">
                  <c:v>44013</c:v>
                </c:pt>
                <c:pt idx="43">
                  <c:v>44044</c:v>
                </c:pt>
                <c:pt idx="44">
                  <c:v>44075</c:v>
                </c:pt>
                <c:pt idx="45">
                  <c:v>44105</c:v>
                </c:pt>
                <c:pt idx="46">
                  <c:v>44136</c:v>
                </c:pt>
                <c:pt idx="47">
                  <c:v>44166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</c:numCache>
            </c:numRef>
          </c:cat>
          <c:val>
            <c:numRef>
              <c:f>Graphs!$K$62:$K$137</c:f>
              <c:numCache>
                <c:formatCode>_-* #,##0_-;\-* #,##0_-;_-* "-"??_-;_-@_-</c:formatCode>
                <c:ptCount val="76"/>
                <c:pt idx="0">
                  <c:v>27866</c:v>
                </c:pt>
                <c:pt idx="1">
                  <c:v>27866</c:v>
                </c:pt>
                <c:pt idx="2">
                  <c:v>27866</c:v>
                </c:pt>
                <c:pt idx="3">
                  <c:v>27866</c:v>
                </c:pt>
                <c:pt idx="4">
                  <c:v>27866</c:v>
                </c:pt>
                <c:pt idx="5">
                  <c:v>27866</c:v>
                </c:pt>
                <c:pt idx="6">
                  <c:v>27866</c:v>
                </c:pt>
                <c:pt idx="7">
                  <c:v>27866</c:v>
                </c:pt>
                <c:pt idx="8">
                  <c:v>27866</c:v>
                </c:pt>
                <c:pt idx="9">
                  <c:v>27866</c:v>
                </c:pt>
                <c:pt idx="10">
                  <c:v>27866</c:v>
                </c:pt>
                <c:pt idx="11">
                  <c:v>27866</c:v>
                </c:pt>
                <c:pt idx="12">
                  <c:v>27866</c:v>
                </c:pt>
                <c:pt idx="13">
                  <c:v>27866</c:v>
                </c:pt>
                <c:pt idx="14">
                  <c:v>27866</c:v>
                </c:pt>
                <c:pt idx="15">
                  <c:v>27866</c:v>
                </c:pt>
                <c:pt idx="16">
                  <c:v>27866</c:v>
                </c:pt>
                <c:pt idx="17">
                  <c:v>27866</c:v>
                </c:pt>
                <c:pt idx="18">
                  <c:v>27866</c:v>
                </c:pt>
                <c:pt idx="19">
                  <c:v>27866</c:v>
                </c:pt>
                <c:pt idx="20">
                  <c:v>27866</c:v>
                </c:pt>
                <c:pt idx="21">
                  <c:v>27866</c:v>
                </c:pt>
                <c:pt idx="22">
                  <c:v>27866</c:v>
                </c:pt>
                <c:pt idx="23">
                  <c:v>27866</c:v>
                </c:pt>
                <c:pt idx="24">
                  <c:v>27866</c:v>
                </c:pt>
                <c:pt idx="25">
                  <c:v>27866</c:v>
                </c:pt>
                <c:pt idx="26">
                  <c:v>27866</c:v>
                </c:pt>
                <c:pt idx="27">
                  <c:v>27866</c:v>
                </c:pt>
                <c:pt idx="28">
                  <c:v>27866</c:v>
                </c:pt>
                <c:pt idx="29">
                  <c:v>27866</c:v>
                </c:pt>
                <c:pt idx="30">
                  <c:v>27866</c:v>
                </c:pt>
                <c:pt idx="31">
                  <c:v>27866</c:v>
                </c:pt>
                <c:pt idx="32">
                  <c:v>27866</c:v>
                </c:pt>
                <c:pt idx="33">
                  <c:v>27866</c:v>
                </c:pt>
                <c:pt idx="34">
                  <c:v>27866</c:v>
                </c:pt>
                <c:pt idx="35">
                  <c:v>27866</c:v>
                </c:pt>
                <c:pt idx="36">
                  <c:v>27866</c:v>
                </c:pt>
                <c:pt idx="37">
                  <c:v>27866</c:v>
                </c:pt>
                <c:pt idx="38">
                  <c:v>27866</c:v>
                </c:pt>
                <c:pt idx="39">
                  <c:v>27866</c:v>
                </c:pt>
                <c:pt idx="40">
                  <c:v>27866</c:v>
                </c:pt>
                <c:pt idx="41">
                  <c:v>27866</c:v>
                </c:pt>
                <c:pt idx="42">
                  <c:v>27866</c:v>
                </c:pt>
                <c:pt idx="43">
                  <c:v>27866</c:v>
                </c:pt>
                <c:pt idx="44">
                  <c:v>27866</c:v>
                </c:pt>
                <c:pt idx="45">
                  <c:v>27866</c:v>
                </c:pt>
                <c:pt idx="46">
                  <c:v>27866</c:v>
                </c:pt>
                <c:pt idx="47">
                  <c:v>27866</c:v>
                </c:pt>
                <c:pt idx="48">
                  <c:v>27866</c:v>
                </c:pt>
                <c:pt idx="49">
                  <c:v>27866</c:v>
                </c:pt>
                <c:pt idx="50">
                  <c:v>27866</c:v>
                </c:pt>
                <c:pt idx="51">
                  <c:v>27866</c:v>
                </c:pt>
                <c:pt idx="52">
                  <c:v>27866</c:v>
                </c:pt>
                <c:pt idx="53">
                  <c:v>27866</c:v>
                </c:pt>
                <c:pt idx="54">
                  <c:v>27866</c:v>
                </c:pt>
                <c:pt idx="55">
                  <c:v>27866</c:v>
                </c:pt>
                <c:pt idx="56">
                  <c:v>27866</c:v>
                </c:pt>
                <c:pt idx="57">
                  <c:v>27866</c:v>
                </c:pt>
                <c:pt idx="58">
                  <c:v>27866</c:v>
                </c:pt>
                <c:pt idx="59">
                  <c:v>27866</c:v>
                </c:pt>
                <c:pt idx="60">
                  <c:v>27866</c:v>
                </c:pt>
                <c:pt idx="61">
                  <c:v>27866</c:v>
                </c:pt>
                <c:pt idx="62">
                  <c:v>27866</c:v>
                </c:pt>
                <c:pt idx="63">
                  <c:v>27866</c:v>
                </c:pt>
                <c:pt idx="64">
                  <c:v>27866</c:v>
                </c:pt>
                <c:pt idx="65">
                  <c:v>27866</c:v>
                </c:pt>
                <c:pt idx="66">
                  <c:v>27866</c:v>
                </c:pt>
                <c:pt idx="67">
                  <c:v>27866</c:v>
                </c:pt>
                <c:pt idx="68">
                  <c:v>27866</c:v>
                </c:pt>
                <c:pt idx="69">
                  <c:v>27866</c:v>
                </c:pt>
                <c:pt idx="70">
                  <c:v>27866</c:v>
                </c:pt>
                <c:pt idx="71">
                  <c:v>27866</c:v>
                </c:pt>
                <c:pt idx="72">
                  <c:v>27866</c:v>
                </c:pt>
                <c:pt idx="73">
                  <c:v>27866</c:v>
                </c:pt>
                <c:pt idx="74">
                  <c:v>27866</c:v>
                </c:pt>
                <c:pt idx="75">
                  <c:v>278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B86-4E54-AA9C-5B9F77FEFA02}"/>
            </c:ext>
          </c:extLst>
        </c:ser>
        <c:marker val="1"/>
        <c:axId val="168824832"/>
        <c:axId val="168827136"/>
      </c:lineChart>
      <c:dateAx>
        <c:axId val="168824832"/>
        <c:scaling>
          <c:orientation val="minMax"/>
        </c:scaling>
        <c:axPos val="b"/>
        <c:numFmt formatCode="mmm\-yy" sourceLinked="1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68827136"/>
        <c:crosses val="autoZero"/>
        <c:auto val="1"/>
        <c:lblOffset val="100"/>
        <c:baseTimeUnit val="months"/>
      </c:dateAx>
      <c:valAx>
        <c:axId val="168827136"/>
        <c:scaling>
          <c:orientation val="minMax"/>
          <c:max val="29500"/>
          <c:min val="23500"/>
        </c:scaling>
        <c:axPos val="l"/>
        <c:majorGridlines>
          <c:spPr>
            <a:ln>
              <a:solidFill>
                <a:schemeClr val="accent1"/>
              </a:solidFill>
            </a:ln>
          </c:spPr>
        </c:majorGridlines>
        <c:numFmt formatCode="_-* #,##0_-;\-* #,##0_-;_-* &quot;-&quot;??_-;_-@_-" sourceLinked="1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68824832"/>
        <c:crosses val="autoZero"/>
        <c:crossBetween val="between"/>
      </c:valAx>
    </c:plotArea>
    <c:plotVisOnly val="1"/>
    <c:dispBlanksAs val="gap"/>
  </c:chart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1.v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4.v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5.v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6.v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7.v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6.v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7.v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8.v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9.v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0.v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8914" name="think-cell Slide" r:id="rId3" imgW="360" imgH="360" progId="TCLayout.ActiveDocument.1">
              <p:embed/>
            </p:oleObj>
          </a:graphicData>
        </a:graphic>
      </p:graphicFrame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7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8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2" name="Freeform 36"/>
          <p:cNvSpPr>
            <a:spLocks/>
          </p:cNvSpPr>
          <p:nvPr/>
        </p:nvSpPr>
        <p:spPr bwMode="auto">
          <a:xfrm>
            <a:off x="0" y="4324350"/>
            <a:ext cx="1744663" cy="777875"/>
          </a:xfrm>
          <a:custGeom>
            <a:avLst/>
            <a:gdLst>
              <a:gd name="T0" fmla="*/ 0 w 372"/>
              <a:gd name="T1" fmla="*/ 0 h 166"/>
              <a:gd name="T2" fmla="*/ 372 w 372"/>
              <a:gd name="T3" fmla="*/ 166 h 166"/>
            </a:gdLst>
            <a:ahLst/>
            <a:cxnLst>
              <a:cxn ang="0">
                <a:pos x="287" y="166"/>
              </a:cxn>
              <a:cxn ang="0">
                <a:pos x="293" y="164"/>
              </a:cxn>
              <a:cxn ang="0">
                <a:pos x="294" y="163"/>
              </a:cxn>
              <a:cxn ang="0">
                <a:pos x="370" y="87"/>
              </a:cxn>
              <a:cxn ang="0">
                <a:pos x="370" y="78"/>
              </a:cxn>
              <a:cxn ang="0">
                <a:pos x="294" y="3"/>
              </a:cxn>
              <a:cxn ang="0">
                <a:pos x="293" y="2"/>
              </a:cxn>
              <a:cxn ang="0">
                <a:pos x="287" y="0"/>
              </a:cxn>
              <a:cxn ang="0">
                <a:pos x="0" y="0"/>
              </a:cxn>
              <a:cxn ang="0">
                <a:pos x="0" y="166"/>
              </a:cxn>
              <a:cxn ang="0">
                <a:pos x="287" y="166"/>
              </a:cxn>
            </a:cxnLst>
            <a:rect l="T0" t="T1" r="T2" b="T3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3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4B54CA-15D7-4838-990A-1459645ACC3E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3" y="4529138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F9F071-D4D9-4BB0-B3E6-2C00C063E3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8130" name="think-cell Slide" r:id="rId3" imgW="360" imgH="360" progId="TCLayout.ActiveDocument.1">
              <p:embed/>
            </p:oleObj>
          </a:graphicData>
        </a:graphic>
      </p:graphicFrame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7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8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2" name="Freeform 11"/>
          <p:cNvSpPr>
            <a:spLocks/>
          </p:cNvSpPr>
          <p:nvPr/>
        </p:nvSpPr>
        <p:spPr bwMode="auto">
          <a:xfrm flipV="1">
            <a:off x="-4763" y="31781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BA927A-B778-496E-B32D-A3BF5D811506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3" y="3244850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08D1A3-7D94-4A84-BEE8-2D013E3DC0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9154" name="think-cell Slide" r:id="rId3" imgW="360" imgH="360" progId="TCLayout.ActiveDocument.1">
              <p:embed/>
            </p:oleObj>
          </a:graphicData>
        </a:graphic>
      </p:graphicFrame>
      <p:grpSp>
        <p:nvGrpSpPr>
          <p:cNvPr id="6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9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20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1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1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2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3" name="Rectangle 32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4" name="Freeform 11"/>
          <p:cNvSpPr>
            <a:spLocks/>
          </p:cNvSpPr>
          <p:nvPr/>
        </p:nvSpPr>
        <p:spPr bwMode="auto">
          <a:xfrm flipV="1">
            <a:off x="-4763" y="31781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35" name="TextBox 34"/>
          <p:cNvSpPr txBox="1"/>
          <p:nvPr/>
        </p:nvSpPr>
        <p:spPr>
          <a:xfrm>
            <a:off x="2466975" y="647700"/>
            <a:ext cx="609600" cy="585788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0" dirty="0">
                <a:ln w="3175" cmpd="sng">
                  <a:noFill/>
                </a:ln>
                <a:solidFill>
                  <a:schemeClr val="accent1"/>
                </a:solidFill>
                <a:latin typeface="Arial"/>
                <a:cs typeface="+mn-cs"/>
              </a:rPr>
              <a:t>“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1114088" y="2905125"/>
            <a:ext cx="609600" cy="584200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0" dirty="0">
                <a:ln w="3175" cmpd="sng">
                  <a:noFill/>
                </a:ln>
                <a:solidFill>
                  <a:schemeClr val="accent1"/>
                </a:solidFill>
                <a:latin typeface="Arial"/>
                <a:cs typeface="+mn-cs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7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6D236B-4EE7-4F94-92DA-F2DE3E559B4E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8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9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531813" y="3244850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2369E3-28B2-493E-8257-9F42C4EFC1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0178" name="think-cell Slide" r:id="rId3" imgW="360" imgH="360" progId="TCLayout.ActiveDocument.1">
              <p:embed/>
            </p:oleObj>
          </a:graphicData>
        </a:graphic>
      </p:graphicFrame>
      <p:grpSp>
        <p:nvGrpSpPr>
          <p:cNvPr id="6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9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1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2" name="Rectangle 31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3" name="Freeform 11"/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2F416B-216D-49BD-9BE7-C18AAEBBD1FE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6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79675D-5931-4820-A060-8196764FF3B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202" name="think-cell Slide" r:id="rId3" imgW="360" imgH="360" progId="TCLayout.ActiveDocument.1">
              <p:embed/>
            </p:oleObj>
          </a:graphicData>
        </a:graphic>
      </p:graphicFrame>
      <p:grpSp>
        <p:nvGrpSpPr>
          <p:cNvPr id="6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9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20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2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1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2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3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4" name="Rectangle 33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5" name="Freeform 11"/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36" name="TextBox 35"/>
          <p:cNvSpPr txBox="1"/>
          <p:nvPr/>
        </p:nvSpPr>
        <p:spPr>
          <a:xfrm>
            <a:off x="2466975" y="647700"/>
            <a:ext cx="609600" cy="585788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0" dirty="0">
                <a:ln w="3175" cmpd="sng">
                  <a:noFill/>
                </a:ln>
                <a:solidFill>
                  <a:schemeClr val="accent1"/>
                </a:solidFill>
                <a:latin typeface="Arial"/>
                <a:cs typeface="+mn-cs"/>
              </a:rPr>
              <a:t>“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1114088" y="2905125"/>
            <a:ext cx="609600" cy="584200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0" dirty="0">
                <a:ln w="3175" cmpd="sng">
                  <a:noFill/>
                </a:ln>
                <a:solidFill>
                  <a:schemeClr val="accent1"/>
                </a:solidFill>
                <a:latin typeface="Arial"/>
                <a:cs typeface="+mn-cs"/>
              </a:rPr>
              <a:t>”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8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7922FB-6B4D-4A42-A0D7-9811F1188BEC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9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" name="Slide Number Placeholder 6"/>
          <p:cNvSpPr>
            <a:spLocks noGrp="1"/>
          </p:cNvSpPr>
          <p:nvPr>
            <p:ph type="sldNum" sz="quarter" idx="16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1A2A01-0F94-42E0-9B39-4C64EEBC60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226" name="think-cell Slide" r:id="rId3" imgW="360" imgH="360" progId="TCLayout.ActiveDocument.1">
              <p:embed/>
            </p:oleObj>
          </a:graphicData>
        </a:graphic>
      </p:graphicFrame>
      <p:grpSp>
        <p:nvGrpSpPr>
          <p:cNvPr id="6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9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1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2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3" name="Rectangle 32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4" name="Freeform 11"/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rtlCol="0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48002C-24C5-42F8-B97D-EC527A0BAB35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6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" name="Slide Number Placeholder 6"/>
          <p:cNvSpPr>
            <a:spLocks noGrp="1"/>
          </p:cNvSpPr>
          <p:nvPr>
            <p:ph type="sldNum" sz="quarter" idx="16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90EA6-FD3F-4AF1-8245-F1ED924859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250" name="think-cell Slide" r:id="rId3" imgW="360" imgH="360" progId="TCLayout.ActiveDocument.1">
              <p:embed/>
            </p:oleObj>
          </a:graphicData>
        </a:graphic>
      </p:graphicFrame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7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8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2" name="Freeform 11"/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1C70B-CE84-4DD5-9204-48AB20BFABDC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589F84-B7D7-4A62-B454-F995D490B0E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4274" name="think-cell Slide" r:id="rId3" imgW="360" imgH="360" progId="TCLayout.ActiveDocument.1">
              <p:embed/>
            </p:oleObj>
          </a:graphicData>
        </a:graphic>
      </p:graphicFrame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7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8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2" name="Freeform 11"/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3416CC-68D8-4261-A695-04229D514CCE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2393FE-9002-4304-93E8-4A204D6196E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938" name="think-cell Slide" r:id="rId3" imgW="360" imgH="360" progId="TCLayout.ActiveDocument.1">
              <p:embed/>
            </p:oleObj>
          </a:graphicData>
        </a:graphic>
      </p:graphicFrame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7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8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graphicFrame>
        <p:nvGraphicFramePr>
          <p:cNvPr id="32" name="Object 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9939" name="think-cell Slide" r:id="rId4" imgW="360" imgH="360" progId="TCLayout.ActiveDocument.1">
              <p:embed/>
            </p:oleObj>
          </a:graphicData>
        </a:graphic>
      </p:graphicFrame>
      <p:sp>
        <p:nvSpPr>
          <p:cNvPr id="33" name="Freeform 11"/>
          <p:cNvSpPr/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819963-2554-40F0-A0C4-A1CCFE17492F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F5959C-883E-4155-A47F-360F5FFBC77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0962" name="think-cell Slide" r:id="rId3" imgW="360" imgH="360" progId="TCLayout.ActiveDocument.1">
              <p:embed/>
            </p:oleObj>
          </a:graphicData>
        </a:graphic>
      </p:graphicFrame>
      <p:grpSp>
        <p:nvGrpSpPr>
          <p:cNvPr id="5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6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7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8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9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1" name="Rectangle 30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2" name="Freeform 11"/>
          <p:cNvSpPr>
            <a:spLocks/>
          </p:cNvSpPr>
          <p:nvPr/>
        </p:nvSpPr>
        <p:spPr bwMode="auto">
          <a:xfrm flipV="1">
            <a:off x="-4763" y="31781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64B27A-0324-44D7-BDBC-7455A38425AB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3" y="3244850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B2F63-A40F-46F9-A726-6CFABD63B1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1986" name="think-cell Slide" r:id="rId3" imgW="360" imgH="360" progId="TCLayout.ActiveDocument.1">
              <p:embed/>
            </p:oleObj>
          </a:graphicData>
        </a:graphic>
      </p:graphicFrame>
      <p:grpSp>
        <p:nvGrpSpPr>
          <p:cNvPr id="6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9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20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1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1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2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3" name="Rectangle 32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4" name="Freeform 36"/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0E8795-A72E-461B-81BB-A5BB02BDA45E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1DD778-8BC1-402B-B382-7DD86961322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3010" name="think-cell Slide" r:id="rId3" imgW="360" imgH="360" progId="TCLayout.ActiveDocument.1">
              <p:embed/>
            </p:oleObj>
          </a:graphicData>
        </a:graphic>
      </p:graphicFrame>
      <p:grpSp>
        <p:nvGrpSpPr>
          <p:cNvPr id="8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9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9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22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3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1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2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3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4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5" name="Rectangle 34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6" name="Freeform 36"/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B50E5E-E6F2-4858-B930-A432EAF80326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5EE1C8-103F-4309-ABA2-A3FAE53804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4034" name="think-cell Slide" r:id="rId3" imgW="360" imgH="360" progId="TCLayout.ActiveDocument.1">
              <p:embed/>
            </p:oleObj>
          </a:graphicData>
        </a:graphic>
      </p:graphicFrame>
      <p:grpSp>
        <p:nvGrpSpPr>
          <p:cNvPr id="4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5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6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7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7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8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9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0" name="Rectangle 29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1" name="Freeform 11"/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2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F10AA1-ED80-4E49-AAE1-BFAC150627C2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3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4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419879-2815-4D46-BC8F-33A7C62118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5058" name="think-cell Slide" r:id="rId3" imgW="360" imgH="360" progId="TCLayout.ActiveDocument.1">
              <p:embed/>
            </p:oleObj>
          </a:graphicData>
        </a:graphic>
      </p:graphicFrame>
      <p:grpSp>
        <p:nvGrpSpPr>
          <p:cNvPr id="3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4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5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6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7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6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7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9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29" name="Rectangle 28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0" name="Freeform 11"/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31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CCB5DD-50B8-46A9-B612-0B69841C64E6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2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C956F4-1FBB-4A39-B521-90742918CE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6082" name="think-cell Slide" r:id="rId3" imgW="360" imgH="360" progId="TCLayout.ActiveDocument.1">
              <p:embed/>
            </p:oleObj>
          </a:graphicData>
        </a:graphic>
      </p:graphicFrame>
      <p:grpSp>
        <p:nvGrpSpPr>
          <p:cNvPr id="6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9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1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2" name="Rectangle 31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3" name="Freeform 11"/>
          <p:cNvSpPr>
            <a:spLocks/>
          </p:cNvSpPr>
          <p:nvPr/>
        </p:nvSpPr>
        <p:spPr bwMode="auto">
          <a:xfrm flipV="1">
            <a:off x="-4763" y="71437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4B83A9-140A-46E1-95D5-591BC5130D5E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66B294-7C2E-41BC-BE4E-997DA839821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7106" name="think-cell Slide" r:id="rId3" imgW="360" imgH="360" progId="TCLayout.ActiveDocument.1">
              <p:embed/>
            </p:oleObj>
          </a:graphicData>
        </a:graphic>
      </p:graphicFrame>
      <p:grpSp>
        <p:nvGrpSpPr>
          <p:cNvPr id="6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7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8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9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0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1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9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20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3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4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1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32" name="Rectangle 31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3" name="Freeform 11"/>
          <p:cNvSpPr>
            <a:spLocks/>
          </p:cNvSpPr>
          <p:nvPr/>
        </p:nvSpPr>
        <p:spPr bwMode="auto">
          <a:xfrm flipV="1">
            <a:off x="-4763" y="4911725"/>
            <a:ext cx="1589088" cy="508000"/>
          </a:xfrm>
          <a:custGeom>
            <a:avLst/>
            <a:gdLst/>
            <a:ahLst/>
            <a:cxnLst>
              <a:cxn ang="0">
                <a:pos x="9248" y="4701"/>
              </a:cxn>
              <a:cxn ang="0">
                <a:pos x="7915" y="188"/>
              </a:cxn>
              <a:cxn ang="0">
                <a:pos x="7886" y="94"/>
              </a:cxn>
              <a:cxn ang="0">
                <a:pos x="7803" y="0"/>
              </a:cxn>
              <a:cxn ang="0">
                <a:pos x="7275" y="0"/>
              </a:cxn>
              <a:cxn ang="0">
                <a:pos x="0" y="70"/>
              </a:cxn>
              <a:cxn ang="0">
                <a:pos x="25" y="10000"/>
              </a:cxn>
              <a:cxn ang="0">
                <a:pos x="7275" y="9966"/>
              </a:cxn>
              <a:cxn ang="0">
                <a:pos x="7803" y="9966"/>
              </a:cxn>
              <a:cxn ang="0">
                <a:pos x="7886" y="9872"/>
              </a:cxn>
              <a:cxn ang="0">
                <a:pos x="7915" y="9778"/>
              </a:cxn>
              <a:cxn ang="0">
                <a:pos x="9248" y="5265"/>
              </a:cxn>
              <a:cxn ang="0">
                <a:pos x="9248" y="4701"/>
              </a:cxn>
            </a:cxnLst>
            <a:rect l="0" t="0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rtlCol="0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02DFE0-3C4D-47B6-A28F-16ADBE517CB4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3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6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3" y="4983163"/>
            <a:ext cx="77946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85F077-9736-434B-8671-52AB7CBBC3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FFFFFF"/>
            </a:gs>
            <a:gs pos="100000">
              <a:srgbClr val="C5DEE5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3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6" name="think-cell Slide" r:id="rId19" imgW="360" imgH="360" progId="TCLayout.ActiveDocument.1">
              <p:embed/>
            </p:oleObj>
          </a:graphicData>
        </a:graphic>
      </p:graphicFrame>
      <p:grpSp>
        <p:nvGrpSpPr>
          <p:cNvPr id="1028" name="Group 22"/>
          <p:cNvGrpSpPr>
            <a:grpSpLocks/>
          </p:cNvGrpSpPr>
          <p:nvPr/>
        </p:nvGrpSpPr>
        <p:grpSpPr bwMode="auto">
          <a:xfrm>
            <a:off x="0" y="228600"/>
            <a:ext cx="2851150" cy="6638925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222"/>
              <a:ext cx="85200" cy="534098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5" name="Freeform 12"/>
            <p:cNvSpPr/>
            <p:nvPr/>
          </p:nvSpPr>
          <p:spPr bwMode="auto">
            <a:xfrm>
              <a:off x="2597156" y="2779108"/>
              <a:ext cx="550418" cy="1978191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6" name="Freeform 13"/>
            <p:cNvSpPr/>
            <p:nvPr/>
          </p:nvSpPr>
          <p:spPr bwMode="auto">
            <a:xfrm>
              <a:off x="3174622" y="4730255"/>
              <a:ext cx="519314" cy="1210171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7" name="Freeform 14"/>
            <p:cNvSpPr/>
            <p:nvPr/>
          </p:nvSpPr>
          <p:spPr bwMode="auto">
            <a:xfrm>
              <a:off x="3305804" y="5630785"/>
              <a:ext cx="146057" cy="309641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8" name="Freeform 15"/>
            <p:cNvSpPr/>
            <p:nvPr/>
          </p:nvSpPr>
          <p:spPr bwMode="auto">
            <a:xfrm>
              <a:off x="2572813" y="2818321"/>
              <a:ext cx="700533" cy="2834099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9" name="Freeform 16"/>
            <p:cNvSpPr/>
            <p:nvPr/>
          </p:nvSpPr>
          <p:spPr bwMode="auto">
            <a:xfrm>
              <a:off x="2506546" y="285750"/>
              <a:ext cx="90610" cy="2493358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0" name="Freeform 17"/>
            <p:cNvSpPr/>
            <p:nvPr/>
          </p:nvSpPr>
          <p:spPr bwMode="auto">
            <a:xfrm>
              <a:off x="2553880" y="2599273"/>
              <a:ext cx="67619" cy="420517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1" name="Freeform 18"/>
            <p:cNvSpPr/>
            <p:nvPr/>
          </p:nvSpPr>
          <p:spPr bwMode="auto">
            <a:xfrm>
              <a:off x="3143518" y="4757298"/>
              <a:ext cx="162286" cy="873487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2" name="Freeform 19"/>
            <p:cNvSpPr/>
            <p:nvPr/>
          </p:nvSpPr>
          <p:spPr bwMode="auto">
            <a:xfrm>
              <a:off x="3147575" y="1282282"/>
              <a:ext cx="1768913" cy="3447973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3" name="Freeform 20"/>
            <p:cNvSpPr/>
            <p:nvPr/>
          </p:nvSpPr>
          <p:spPr bwMode="auto">
            <a:xfrm>
              <a:off x="3273346" y="5652419"/>
              <a:ext cx="137943" cy="288007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4" name="Freeform 21"/>
            <p:cNvSpPr/>
            <p:nvPr/>
          </p:nvSpPr>
          <p:spPr bwMode="auto">
            <a:xfrm>
              <a:off x="3143518" y="4655887"/>
              <a:ext cx="31104" cy="189300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35" name="Freeform 22"/>
            <p:cNvSpPr/>
            <p:nvPr/>
          </p:nvSpPr>
          <p:spPr bwMode="auto">
            <a:xfrm>
              <a:off x="3211137" y="5410385"/>
              <a:ext cx="204209" cy="530041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grpSp>
        <p:nvGrpSpPr>
          <p:cNvPr id="1029" name="Group 9"/>
          <p:cNvGrpSpPr>
            <a:grpSpLocks/>
          </p:cNvGrpSpPr>
          <p:nvPr/>
        </p:nvGrpSpPr>
        <p:grpSpPr bwMode="auto">
          <a:xfrm>
            <a:off x="26988" y="0"/>
            <a:ext cx="2357437" cy="6853238"/>
            <a:chOff x="6627813" y="195610"/>
            <a:chExt cx="1952625" cy="5678141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5610"/>
              <a:ext cx="408933" cy="3646005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2" name="Freeform 28"/>
            <p:cNvSpPr/>
            <p:nvPr/>
          </p:nvSpPr>
          <p:spPr bwMode="auto">
            <a:xfrm>
              <a:off x="7061730" y="3771905"/>
              <a:ext cx="349763" cy="1310037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3" name="Freeform 29"/>
            <p:cNvSpPr/>
            <p:nvPr/>
          </p:nvSpPr>
          <p:spPr bwMode="auto">
            <a:xfrm>
              <a:off x="7439105" y="5053005"/>
              <a:ext cx="357653" cy="820746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4" name="Freeform 30"/>
            <p:cNvSpPr/>
            <p:nvPr/>
          </p:nvSpPr>
          <p:spPr bwMode="auto">
            <a:xfrm>
              <a:off x="7036746" y="3811364"/>
              <a:ext cx="457585" cy="1853254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5" name="Freeform 31"/>
            <p:cNvSpPr/>
            <p:nvPr/>
          </p:nvSpPr>
          <p:spPr bwMode="auto">
            <a:xfrm>
              <a:off x="6993355" y="1263632"/>
              <a:ext cx="144639" cy="2508273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6" name="Freeform 32"/>
            <p:cNvSpPr/>
            <p:nvPr/>
          </p:nvSpPr>
          <p:spPr bwMode="auto">
            <a:xfrm>
              <a:off x="7525889" y="5640943"/>
              <a:ext cx="111767" cy="232808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7" name="Freeform 33"/>
            <p:cNvSpPr/>
            <p:nvPr/>
          </p:nvSpPr>
          <p:spPr bwMode="auto">
            <a:xfrm>
              <a:off x="7020967" y="3598286"/>
              <a:ext cx="68375" cy="424841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8" name="Freeform 34"/>
            <p:cNvSpPr/>
            <p:nvPr/>
          </p:nvSpPr>
          <p:spPr bwMode="auto">
            <a:xfrm>
              <a:off x="7411493" y="2802530"/>
              <a:ext cx="1168945" cy="22504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19" name="Freeform 35"/>
            <p:cNvSpPr/>
            <p:nvPr/>
          </p:nvSpPr>
          <p:spPr bwMode="auto">
            <a:xfrm>
              <a:off x="7494331" y="5664618"/>
              <a:ext cx="99932" cy="209133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0" name="Freeform 36"/>
            <p:cNvSpPr/>
            <p:nvPr/>
          </p:nvSpPr>
          <p:spPr bwMode="auto">
            <a:xfrm>
              <a:off x="7411493" y="5081942"/>
              <a:ext cx="114396" cy="559001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1" name="Freeform 37"/>
            <p:cNvSpPr/>
            <p:nvPr/>
          </p:nvSpPr>
          <p:spPr bwMode="auto">
            <a:xfrm>
              <a:off x="7411493" y="4978033"/>
              <a:ext cx="32872" cy="18940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  <p:sp>
          <p:nvSpPr>
            <p:cNvPr id="22" name="Freeform 38"/>
            <p:cNvSpPr/>
            <p:nvPr/>
          </p:nvSpPr>
          <p:spPr bwMode="auto">
            <a:xfrm>
              <a:off x="7439105" y="5434442"/>
              <a:ext cx="174882" cy="439309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latin typeface="+mn-lt"/>
                <a:cs typeface="+mn-cs"/>
              </a:endParaRPr>
            </a:p>
          </p:txBody>
        </p:sp>
      </p:grpSp>
      <p:sp>
        <p:nvSpPr>
          <p:cNvPr id="7" name="Rectangle 6"/>
          <p:cNvSpPr/>
          <p:nvPr/>
        </p:nvSpPr>
        <p:spPr>
          <a:xfrm>
            <a:off x="0" y="0"/>
            <a:ext cx="182563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31" name="Title Placeholder 1"/>
          <p:cNvSpPr>
            <a:spLocks noGrp="1"/>
          </p:cNvSpPr>
          <p:nvPr>
            <p:ph type="title"/>
          </p:nvPr>
        </p:nvSpPr>
        <p:spPr bwMode="auto">
          <a:xfrm>
            <a:off x="2592388" y="623888"/>
            <a:ext cx="8912225" cy="128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89213" y="2133600"/>
            <a:ext cx="8915400" cy="388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3" y="6130925"/>
            <a:ext cx="1146175" cy="3698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82C0836-5438-4317-96FF-B855F5224685}" type="datetimeFigureOut">
              <a:rPr lang="en-US"/>
              <a:pPr>
                <a:defRPr/>
              </a:pPr>
              <a:t>5/12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3" y="6135688"/>
            <a:ext cx="7620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3" y="787400"/>
            <a:ext cx="7794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2000">
                <a:solidFill>
                  <a:srgbClr val="FE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7858D51-7187-4DD6-B264-934D3E4544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  <p:sldLayoutId id="2147483921" r:id="rId12"/>
    <p:sldLayoutId id="2147483922" r:id="rId13"/>
    <p:sldLayoutId id="2147483923" r:id="rId14"/>
    <p:sldLayoutId id="2147483924" r:id="rId15"/>
    <p:sldLayoutId id="2147483925" r:id="rId16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178DBB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rgbClr val="178DBB"/>
          </a:solidFill>
          <a:latin typeface="Century Gothic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18" charset="2"/>
        <a:buChar char=""/>
        <a:defRPr kern="1200">
          <a:solidFill>
            <a:srgbClr val="404040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18" charset="2"/>
        <a:buChar char=""/>
        <a:defRPr sz="1600" kern="1200">
          <a:solidFill>
            <a:srgbClr val="404040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18" charset="2"/>
        <a:buChar char=""/>
        <a:defRPr sz="1400" kern="1200">
          <a:solidFill>
            <a:srgbClr val="404040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18" charset="2"/>
        <a:buChar char=""/>
        <a:defRPr sz="1200" kern="1200">
          <a:solidFill>
            <a:srgbClr val="404040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ts val="1000"/>
        </a:spcBef>
        <a:spcAft>
          <a:spcPct val="0"/>
        </a:spcAft>
        <a:buClr>
          <a:schemeClr val="accent1"/>
        </a:buClr>
        <a:buFont typeface="Wingdings 3" pitchFamily="18" charset="2"/>
        <a:buChar char=""/>
        <a:defRPr sz="1200" kern="1200">
          <a:solidFill>
            <a:srgbClr val="404040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19.bin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400" cy="2262188"/>
          </a:xfrm>
        </p:spPr>
        <p:txBody>
          <a:bodyPr/>
          <a:lstStyle/>
          <a:p>
            <a:pPr eaLnBrk="1" hangingPunct="1"/>
            <a:r>
              <a:rPr lang="en-GB" smtClean="0"/>
              <a:t>RUISLIP BAPTIST CHURC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6788"/>
            <a:ext cx="8915400" cy="1127125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buFont typeface="Wingdings 3" charset="2"/>
              <a:buNone/>
              <a:defRPr/>
            </a:pPr>
            <a:r>
              <a:rPr lang="en-GB" dirty="0" smtClean="0"/>
              <a:t>Building a vibrant Christ-centred Community with a vision for extending His kingdom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hart 11">
            <a:extLst>
              <a:ext uri="{FF2B5EF4-FFF2-40B4-BE49-F238E27FC236}">
                <a16:creationId xmlns="" xmlns:xdr="http://schemas.openxmlformats.org/drawingml/2006/spreadsheetDrawing" xmlns:a16="http://schemas.microsoft.com/office/drawing/2014/main" xmlns:lc="http://schemas.openxmlformats.org/drawingml/2006/lockedCanvas" id="{00000000-0008-0000-2000-000006000000}"/>
              </a:ext>
            </a:extLst>
          </p:cNvPr>
          <p:cNvGraphicFramePr>
            <a:graphicFrameLocks/>
          </p:cNvGraphicFramePr>
          <p:nvPr/>
        </p:nvGraphicFramePr>
        <p:xfrm>
          <a:off x="1098236" y="1532425"/>
          <a:ext cx="10788963" cy="48502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434" name="Object 3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434" name="think-cell Slide" r:id="rId5" imgW="360" imgH="360" progId="TCLayout.ActiveDocument.1">
              <p:embed/>
            </p:oleObj>
          </a:graphicData>
        </a:graphic>
      </p:graphicFrame>
      <p:sp>
        <p:nvSpPr>
          <p:cNvPr id="47" name="Rectangle 4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en-GB" sz="3600">
              <a:ea typeface="+mj-ea"/>
              <a:cs typeface="+mj-cs"/>
              <a:sym typeface="Century Gothic"/>
            </a:endParaRPr>
          </a:p>
        </p:txBody>
      </p:sp>
      <p:sp>
        <p:nvSpPr>
          <p:cNvPr id="18437" name="Title 1"/>
          <p:cNvSpPr>
            <a:spLocks noGrp="1"/>
          </p:cNvSpPr>
          <p:nvPr>
            <p:ph type="title"/>
          </p:nvPr>
        </p:nvSpPr>
        <p:spPr>
          <a:xfrm>
            <a:off x="1582738" y="623888"/>
            <a:ext cx="10440987" cy="1281112"/>
          </a:xfrm>
        </p:spPr>
        <p:txBody>
          <a:bodyPr/>
          <a:lstStyle/>
          <a:p>
            <a:pPr eaLnBrk="1" hangingPunct="1"/>
            <a:r>
              <a:rPr lang="en-GB" smtClean="0"/>
              <a:t>Historic Offerings – Rolling 12 month average </a:t>
            </a:r>
          </a:p>
        </p:txBody>
      </p:sp>
      <p:sp>
        <p:nvSpPr>
          <p:cNvPr id="18438" name="Freeform 30"/>
          <p:cNvSpPr>
            <a:spLocks/>
          </p:cNvSpPr>
          <p:nvPr/>
        </p:nvSpPr>
        <p:spPr bwMode="gray">
          <a:xfrm>
            <a:off x="9953109" y="4620090"/>
            <a:ext cx="414338" cy="34925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GB"/>
          </a:p>
        </p:txBody>
      </p:sp>
      <p:sp>
        <p:nvSpPr>
          <p:cNvPr id="18439" name="Freeform 30"/>
          <p:cNvSpPr>
            <a:spLocks/>
          </p:cNvSpPr>
          <p:nvPr/>
        </p:nvSpPr>
        <p:spPr bwMode="gray">
          <a:xfrm>
            <a:off x="11488736" y="3275662"/>
            <a:ext cx="458788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FF0000"/>
          </a:solidFill>
          <a:ln w="9525">
            <a:solidFill>
              <a:srgbClr val="FF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GB"/>
          </a:p>
        </p:txBody>
      </p:sp>
      <p:sp>
        <p:nvSpPr>
          <p:cNvPr id="42" name="Rectangle 41"/>
          <p:cNvSpPr/>
          <p:nvPr/>
        </p:nvSpPr>
        <p:spPr>
          <a:xfrm>
            <a:off x="1092200" y="1538288"/>
            <a:ext cx="10948909" cy="4889500"/>
          </a:xfrm>
          <a:prstGeom prst="rect">
            <a:avLst/>
          </a:prstGeom>
          <a:noFill/>
          <a:ln w="222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4" name="Right Arrow 3"/>
          <p:cNvSpPr/>
          <p:nvPr/>
        </p:nvSpPr>
        <p:spPr>
          <a:xfrm rot="18994454">
            <a:off x="9908245" y="3613132"/>
            <a:ext cx="1705691" cy="498475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 smtClean="0">
                <a:solidFill>
                  <a:schemeClr val="tx1"/>
                </a:solidFill>
              </a:rPr>
              <a:t>9.4%</a:t>
            </a:r>
            <a:endParaRPr lang="en-GB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7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458" name="think-cell Slide" r:id="rId4" imgW="360" imgH="360" progId="TCLayout.ActiveDocument.1">
              <p:embed/>
            </p:oleObj>
          </a:graphicData>
        </a:graphic>
      </p:graphicFrame>
      <p:sp>
        <p:nvSpPr>
          <p:cNvPr id="47" name="Rectangle 4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endParaRPr lang="en-GB" sz="3600">
              <a:ea typeface="+mj-ea"/>
              <a:cs typeface="+mj-cs"/>
              <a:sym typeface="Century Gothic"/>
            </a:endParaRPr>
          </a:p>
        </p:txBody>
      </p:sp>
      <p:sp>
        <p:nvSpPr>
          <p:cNvPr id="19460" name="Title 1"/>
          <p:cNvSpPr>
            <a:spLocks noGrp="1"/>
          </p:cNvSpPr>
          <p:nvPr>
            <p:ph type="title"/>
          </p:nvPr>
        </p:nvSpPr>
        <p:spPr>
          <a:xfrm>
            <a:off x="1582738" y="623888"/>
            <a:ext cx="10440987" cy="1281112"/>
          </a:xfrm>
        </p:spPr>
        <p:txBody>
          <a:bodyPr/>
          <a:lstStyle/>
          <a:p>
            <a:pPr eaLnBrk="1" hangingPunct="1"/>
            <a:r>
              <a:rPr lang="en-GB" dirty="0" smtClean="0"/>
              <a:t>4 </a:t>
            </a:r>
            <a:r>
              <a:rPr lang="en-GB" dirty="0" smtClean="0"/>
              <a:t>Months to </a:t>
            </a:r>
            <a:r>
              <a:rPr lang="en-GB" dirty="0" smtClean="0"/>
              <a:t>30</a:t>
            </a:r>
            <a:r>
              <a:rPr lang="en-GB" baseline="30000" dirty="0" smtClean="0"/>
              <a:t>th</a:t>
            </a:r>
            <a:r>
              <a:rPr lang="en-GB" dirty="0" smtClean="0"/>
              <a:t> April 2023 (£ </a:t>
            </a:r>
            <a:r>
              <a:rPr lang="en-GB" dirty="0" smtClean="0"/>
              <a:t>000’s)</a:t>
            </a:r>
          </a:p>
        </p:txBody>
      </p:sp>
      <p:sp>
        <p:nvSpPr>
          <p:cNvPr id="7" name="Rectangle 6"/>
          <p:cNvSpPr/>
          <p:nvPr/>
        </p:nvSpPr>
        <p:spPr>
          <a:xfrm>
            <a:off x="7469121" y="1339909"/>
            <a:ext cx="1131684" cy="547734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9463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172373" y="1273307"/>
            <a:ext cx="5365042" cy="5476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V6Uq9IRiuOODJtEx_33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V6Uq9IRiuOODJtEx_33A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2E5369"/>
      </a:dk2>
      <a:lt2>
        <a:srgbClr val="CFE2E7"/>
      </a:lt2>
      <a:accent1>
        <a:srgbClr val="353535"/>
      </a:accent1>
      <a:accent2>
        <a:srgbClr val="31B4E6"/>
      </a:accent2>
      <a:accent3>
        <a:srgbClr val="265991"/>
      </a:accent3>
      <a:accent4>
        <a:srgbClr val="7E40CC"/>
      </a:accent4>
      <a:accent5>
        <a:srgbClr val="B927E9"/>
      </a:accent5>
      <a:accent6>
        <a:srgbClr val="E833BF"/>
      </a:accent6>
      <a:hlink>
        <a:srgbClr val="2DA0F1"/>
      </a:hlink>
      <a:folHlink>
        <a:srgbClr val="7ED1E6"/>
      </a:folHlink>
    </a:clrScheme>
    <a:fontScheme name="Wisp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Wisp" id="{7CB32D59-10C0-40DD-B7BD-2E94284A981C}" vid="{4F34B87B-9C7A-41AE-A6CB-48536223DFF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534</TotalTime>
  <Words>37</Words>
  <Application>Microsoft Office PowerPoint</Application>
  <PresentationFormat>Custom</PresentationFormat>
  <Paragraphs>6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entury Gothic</vt:lpstr>
      <vt:lpstr>Wingdings 3</vt:lpstr>
      <vt:lpstr>Calibri</vt:lpstr>
      <vt:lpstr>Wisp</vt:lpstr>
      <vt:lpstr>think-cell Slide</vt:lpstr>
      <vt:lpstr>RUISLIP BAPTIST CHURCH</vt:lpstr>
      <vt:lpstr>Historic Offerings – Rolling 12 month average </vt:lpstr>
      <vt:lpstr>4 Months to 30th April 2023 (£ 000’s)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UISLIP BAPTIST CHURCH</dc:title>
  <dc:creator>Roy Bawden</dc:creator>
  <cp:lastModifiedBy>rrowland</cp:lastModifiedBy>
  <cp:revision>104</cp:revision>
  <cp:lastPrinted>2017-01-24T16:43:24Z</cp:lastPrinted>
  <dcterms:created xsi:type="dcterms:W3CDTF">2017-01-24T16:35:48Z</dcterms:created>
  <dcterms:modified xsi:type="dcterms:W3CDTF">2023-05-12T21:24:27Z</dcterms:modified>
</cp:coreProperties>
</file>